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1EB4CC26-39EA-4386-A3D5-52221B02BD77}">
          <p14:sldIdLst>
            <p14:sldId id="2147475173"/>
            <p14:sldId id="2147475174"/>
            <p14:sldId id="2147475175"/>
            <p14:sldId id="2147475176"/>
            <p14:sldId id="2147475177"/>
            <p14:sldId id="2147475178"/>
            <p14:sldId id="2147475179"/>
            <p14:sldId id="2147475180"/>
            <p14:sldId id="2147475181"/>
          </p14:sldIdLst>
        </p14:section>
        <p14:section name="Brackets By Sector" id="{2290AB97-B142-4A7A-AED8-B019EB130632}">
          <p14:sldIdLst>
            <p14:sldId id="2147475182"/>
            <p14:sldId id="2147475183"/>
            <p14:sldId id="2147475184"/>
            <p14:sldId id="2147475185"/>
            <p14:sldId id="2147475186"/>
            <p14:sldId id="2147475187"/>
            <p14:sldId id="2147475188"/>
            <p14:sldId id="2147475189"/>
            <p14:sldId id="2147475190"/>
          </p14:sldIdLst>
        </p14:section>
        <p14:section name="Brackets By Segment" id="{8C479ADD-A659-4054-84B2-35A3412A5F0F}">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6</c:v>
                </c:pt>
                <c:pt idx="1">
                  <c:v>0.019033626479877733</c:v>
                </c:pt>
                <c:pt idx="2">
                  <c:v>0.01982750828076984</c:v>
                </c:pt>
                <c:pt idx="3">
                  <c:v>0.04617630952150177</c:v>
                </c:pt>
                <c:pt idx="4">
                  <c:v>0.06914144718509652</c:v>
                </c:pt>
                <c:pt idx="5">
                  <c:v>0.0990885822044972</c:v>
                </c:pt>
                <c:pt idx="6">
                  <c:v>0.128900450578765</c:v>
                </c:pt>
                <c:pt idx="7">
                  <c:v>0.17819960100478047</c:v>
                </c:pt>
                <c:pt idx="8">
                  <c:v>0.2426326861233528</c:v>
                </c:pt>
                <c:pt idx="9">
                  <c:v>0.09166950552699936</c:v>
                </c:pt>
                <c:pt idx="10">
                  <c:v>0.0886259055872865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8805964401529397</c:v>
                </c:pt>
                <c:pt idx="3">
                  <c:v>0.003305048724703075</c:v>
                </c:pt>
                <c:pt idx="4">
                  <c:v>0.0017550118633459153</c:v>
                </c:pt>
                <c:pt idx="5">
                  <c:v>0.0021578329734128375</c:v>
                </c:pt>
                <c:pt idx="6">
                  <c:v>0.0023843362055684073</c:v>
                </c:pt>
                <c:pt idx="7">
                  <c:v>0.0057335995141645935</c:v>
                </c:pt>
                <c:pt idx="8">
                  <c:v>0.00679725021661843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6</c:v>
                </c:pt>
                <c:pt idx="2">
                  <c:v>0.03361892145334922</c:v>
                </c:pt>
                <c:pt idx="3">
                  <c:v>0.043193698660743136</c:v>
                </c:pt>
                <c:pt idx="4">
                  <c:v>0.06086647020153794</c:v>
                </c:pt>
                <c:pt idx="5">
                  <c:v>0.11629275414523581</c:v>
                </c:pt>
                <c:pt idx="6">
                  <c:v>0.14114999538782796</c:v>
                </c:pt>
                <c:pt idx="7">
                  <c:v>0.1870820731732225</c:v>
                </c:pt>
                <c:pt idx="8">
                  <c:v>0.19672272953911327</c:v>
                </c:pt>
                <c:pt idx="9">
                  <c:v>0.14353338057932885</c:v>
                </c:pt>
                <c:pt idx="10">
                  <c:v>0.0266545056269850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33505707366851</c:v>
                </c:pt>
                <c:pt idx="4">
                  <c:v>0.007984190768593007</c:v>
                </c:pt>
                <c:pt idx="5">
                  <c:v>0.0037744728815551137</c:v>
                </c:pt>
                <c:pt idx="6">
                  <c:v>0.0034438242223271344</c:v>
                </c:pt>
                <c:pt idx="7">
                  <c:v>0.00436629017630431</c:v>
                </c:pt>
                <c:pt idx="8">
                  <c:v>0.0019560900311123767</c:v>
                </c:pt>
                <c:pt idx="9">
                  <c:v>0.001514098473415222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2</c:v>
                </c:pt>
                <c:pt idx="6">
                  <c:v>0.0780238118923588</c:v>
                </c:pt>
                <c:pt idx="7">
                  <c:v>0.11515289447697061</c:v>
                </c:pt>
                <c:pt idx="8">
                  <c:v>0.1802110412061716</c:v>
                </c:pt>
                <c:pt idx="9">
                  <c:v>0.015436239982336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2252761138651</c:v>
                </c:pt>
                <c:pt idx="1">
                  <c:v>0.012001151939103054</c:v>
                </c:pt>
                <c:pt idx="2">
                  <c:v>0.014271461085164992</c:v>
                </c:pt>
                <c:pt idx="3">
                  <c:v>0.0735456259416907</c:v>
                </c:pt>
                <c:pt idx="4">
                  <c:v>0.054250404213041364</c:v>
                </c:pt>
                <c:pt idx="5">
                  <c:v>0.12550902281882184</c:v>
                </c:pt>
                <c:pt idx="6">
                  <c:v>0.1211517910584342</c:v>
                </c:pt>
                <c:pt idx="7">
                  <c:v>0.187042554643229</c:v>
                </c:pt>
                <c:pt idx="8">
                  <c:v>0.21492993040072444</c:v>
                </c:pt>
                <c:pt idx="9">
                  <c:v>0.11520676347948282</c:v>
                </c:pt>
                <c:pt idx="10">
                  <c:v>0.067668766808921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10817790768354225</c:v>
                </c:pt>
                <c:pt idx="3">
                  <c:v>0.00881698384459054</c:v>
                </c:pt>
                <c:pt idx="4">
                  <c:v>0.010103084067598002</c:v>
                </c:pt>
                <c:pt idx="6">
                  <c:v>0.0011139551820584471</c:v>
                </c:pt>
                <c:pt idx="7">
                  <c:v>0.0109051440014248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316513806799</c:v>
                </c:pt>
                <c:pt idx="3">
                  <c:v>0.3802122559604967</c:v>
                </c:pt>
                <c:pt idx="4">
                  <c:v>0.10773548689713384</c:v>
                </c:pt>
                <c:pt idx="5">
                  <c:v>0.11240208748273982</c:v>
                </c:pt>
                <c:pt idx="6">
                  <c:v>0.005703933490111149</c:v>
                </c:pt>
                <c:pt idx="7">
                  <c:v>0.1840588125433033</c:v>
                </c:pt>
                <c:pt idx="8">
                  <c:v>0.2011401678119552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68986770156853</c:v>
                </c:pt>
                <c:pt idx="1">
                  <c:v>0.019837674558354175</c:v>
                </c:pt>
                <c:pt idx="2">
                  <c:v>0.020649080415175616</c:v>
                </c:pt>
                <c:pt idx="3">
                  <c:v>0.03811818346706814</c:v>
                </c:pt>
                <c:pt idx="4">
                  <c:v>0.061661417397453615</c:v>
                </c:pt>
                <c:pt idx="5">
                  <c:v>0.09924682877793033</c:v>
                </c:pt>
                <c:pt idx="6">
                  <c:v>0.1332016043949691</c:v>
                </c:pt>
                <c:pt idx="7">
                  <c:v>0.17855094253158701</c:v>
                </c:pt>
                <c:pt idx="8">
                  <c:v>0.24422796421949797</c:v>
                </c:pt>
                <c:pt idx="9">
                  <c:v>0.09523057734203796</c:v>
                </c:pt>
                <c:pt idx="10">
                  <c:v>0.0925858591943575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452605108927297</c:v>
                </c:pt>
                <c:pt idx="7">
                  <c:v>0.004469273223472992</c:v>
                </c:pt>
                <c:pt idx="8">
                  <c:v>0.008292187270638534</c:v>
                </c:pt>
                <c:pt idx="9">
                  <c:v>0.00081804332472673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975516137549</c:v>
                </c:pt>
                <c:pt idx="1">
                  <c:v>0.0011038120023828693</c:v>
                </c:pt>
                <c:pt idx="2">
                  <c:v>0.0015282875797082282</c:v>
                </c:pt>
                <c:pt idx="3">
                  <c:v>0.24074556770459496</c:v>
                </c:pt>
                <c:pt idx="4">
                  <c:v>0.250748047026607</c:v>
                </c:pt>
                <c:pt idx="5">
                  <c:v>0.09501567428034123</c:v>
                </c:pt>
                <c:pt idx="6">
                  <c:v>0.01776621971473062</c:v>
                </c:pt>
                <c:pt idx="7">
                  <c:v>0.15861178296232292</c:v>
                </c:pt>
                <c:pt idx="8">
                  <c:v>0.20674302461709723</c:v>
                </c:pt>
                <c:pt idx="9">
                  <c:v>0.00964003249846006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8809876440111869</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6</c:v>
                </c:pt>
                <c:pt idx="2">
                  <c:v>0.03361892145334922</c:v>
                </c:pt>
                <c:pt idx="3">
                  <c:v>0.043193698660743136</c:v>
                </c:pt>
                <c:pt idx="4">
                  <c:v>0.06086647020153794</c:v>
                </c:pt>
                <c:pt idx="5">
                  <c:v>0.11629275414523581</c:v>
                </c:pt>
                <c:pt idx="6">
                  <c:v>0.14114999538782796</c:v>
                </c:pt>
                <c:pt idx="7">
                  <c:v>0.1870820731732225</c:v>
                </c:pt>
                <c:pt idx="8">
                  <c:v>0.19672272953911327</c:v>
                </c:pt>
                <c:pt idx="9">
                  <c:v>0.14353338057932885</c:v>
                </c:pt>
                <c:pt idx="10">
                  <c:v>0.0266545056269850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22620463993700407</c:v>
                </c:pt>
                <c:pt idx="7">
                  <c:v>0.006787563320020437</c:v>
                </c:pt>
                <c:pt idx="8">
                  <c:v>0.008922813295508415</c:v>
                </c:pt>
                <c:pt idx="9">
                  <c:v>0.001143218370220824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2</c:v>
                </c:pt>
                <c:pt idx="6">
                  <c:v>0.0780238118923588</c:v>
                </c:pt>
                <c:pt idx="7">
                  <c:v>0.11515289447697061</c:v>
                </c:pt>
                <c:pt idx="8">
                  <c:v>0.1802110412061716</c:v>
                </c:pt>
                <c:pt idx="9">
                  <c:v>0.015436239982336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4">
                  <c:v>0.0019428990141866858</c:v>
                </c:pt>
                <c:pt idx="5">
                  <c:v>0.07689897051294806</c:v>
                </c:pt>
                <c:pt idx="6">
                  <c:v>0.0211892358794313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2252761138651</c:v>
                </c:pt>
                <c:pt idx="1">
                  <c:v>0.012001151939103054</c:v>
                </c:pt>
                <c:pt idx="2">
                  <c:v>0.014271461085164992</c:v>
                </c:pt>
                <c:pt idx="3">
                  <c:v>0.0735456259416907</c:v>
                </c:pt>
                <c:pt idx="4">
                  <c:v>0.054250404213041364</c:v>
                </c:pt>
                <c:pt idx="5">
                  <c:v>0.12550902281882184</c:v>
                </c:pt>
                <c:pt idx="6">
                  <c:v>0.1211517910584342</c:v>
                </c:pt>
                <c:pt idx="7">
                  <c:v>0.187042554643229</c:v>
                </c:pt>
                <c:pt idx="8">
                  <c:v>0.21492993040072444</c:v>
                </c:pt>
                <c:pt idx="9">
                  <c:v>0.11520676347948282</c:v>
                </c:pt>
                <c:pt idx="10">
                  <c:v>0.067668766808921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43894136216223335</c:v>
                </c:pt>
                <c:pt idx="6">
                  <c:v>0.0007209462174041232</c:v>
                </c:pt>
                <c:pt idx="7">
                  <c:v>0.003765289276482342</c:v>
                </c:pt>
                <c:pt idx="8">
                  <c:v>0.014081201875497398</c:v>
                </c:pt>
                <c:pt idx="9">
                  <c:v>0.001397283344382765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316513806799</c:v>
                </c:pt>
                <c:pt idx="3">
                  <c:v>0.3802122559604967</c:v>
                </c:pt>
                <c:pt idx="4">
                  <c:v>0.10773548689713384</c:v>
                </c:pt>
                <c:pt idx="5">
                  <c:v>0.11240208748273982</c:v>
                </c:pt>
                <c:pt idx="6">
                  <c:v>0.005703933490111149</c:v>
                </c:pt>
                <c:pt idx="7">
                  <c:v>0.1840588125433033</c:v>
                </c:pt>
                <c:pt idx="8">
                  <c:v>0.2011401678119552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11240208748273982</c:v>
                </c:pt>
                <c:pt idx="6">
                  <c:v>0.00519275356286220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9714416230522547</c:v>
                </c:pt>
                <c:pt idx="1">
                  <c:v>0.022345770538797674</c:v>
                </c:pt>
                <c:pt idx="2">
                  <c:v>0.03429018394452343</c:v>
                </c:pt>
                <c:pt idx="3">
                  <c:v>0.08080788065448997</c:v>
                </c:pt>
                <c:pt idx="4">
                  <c:v>0.16453614933211275</c:v>
                </c:pt>
                <c:pt idx="5">
                  <c:v>0.12102190703651872</c:v>
                </c:pt>
                <c:pt idx="6">
                  <c:v>0.06837932156017054</c:v>
                </c:pt>
                <c:pt idx="7">
                  <c:v>0.277033238563723</c:v>
                </c:pt>
                <c:pt idx="8">
                  <c:v>0.16530007726544974</c:v>
                </c:pt>
                <c:pt idx="9">
                  <c:v>0.042694142118576014</c:v>
                </c:pt>
                <c:pt idx="10">
                  <c:v>0.0038769127551155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34267255754208456</c:v>
                </c:pt>
                <c:pt idx="3">
                  <c:v>0.006827337072079137</c:v>
                </c:pt>
                <c:pt idx="4">
                  <c:v>0.009911853027981745</c:v>
                </c:pt>
                <c:pt idx="5">
                  <c:v>0.026441787850900917</c:v>
                </c:pt>
                <c:pt idx="7">
                  <c:v>0.0641718200234897</c:v>
                </c:pt>
                <c:pt idx="8">
                  <c:v>0.0627645686249812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12574445260241806</c:v>
                </c:pt>
                <c:pt idx="2">
                  <c:v>0.0076663425080420455</c:v>
                </c:pt>
                <c:pt idx="3">
                  <c:v>0.05797876578862857</c:v>
                </c:pt>
                <c:pt idx="4">
                  <c:v>0.023980990241791268</c:v>
                </c:pt>
                <c:pt idx="5">
                  <c:v>0.021307474066270562</c:v>
                </c:pt>
                <c:pt idx="6">
                  <c:v>0.18064157338881034</c:v>
                </c:pt>
                <c:pt idx="7">
                  <c:v>0.14442246881480472</c:v>
                </c:pt>
                <c:pt idx="8">
                  <c:v>0.30330573706980096</c:v>
                </c:pt>
                <c:pt idx="9">
                  <c:v>0.14396439387256088</c:v>
                </c:pt>
                <c:pt idx="10">
                  <c:v>0.104021886205869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2306556131165766</c:v>
                </c:pt>
                <c:pt idx="8">
                  <c:v>0.00478595248592671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44032689602338</c:v>
                </c:pt>
                <c:pt idx="1">
                  <c:v>0.016414059402893172</c:v>
                </c:pt>
                <c:pt idx="2">
                  <c:v>0.018161040186737358</c:v>
                </c:pt>
                <c:pt idx="3">
                  <c:v>0.041076518711765486</c:v>
                </c:pt>
                <c:pt idx="4">
                  <c:v>0.07194189086716343</c:v>
                </c:pt>
                <c:pt idx="5">
                  <c:v>0.09244733293971688</c:v>
                </c:pt>
                <c:pt idx="6">
                  <c:v>0.10831682527395142</c:v>
                </c:pt>
                <c:pt idx="7">
                  <c:v>0.1890237751026156</c:v>
                </c:pt>
                <c:pt idx="8">
                  <c:v>0.19576873044059107</c:v>
                </c:pt>
                <c:pt idx="9">
                  <c:v>0.049546663979823755</c:v>
                </c:pt>
                <c:pt idx="10">
                  <c:v>0.211159130405139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366118400716372</c:v>
                </c:pt>
                <c:pt idx="1">
                  <c:v>0.01797997102747441</c:v>
                </c:pt>
                <c:pt idx="2">
                  <c:v>0.0110865325842958</c:v>
                </c:pt>
                <c:pt idx="3">
                  <c:v>0.013960396047619254</c:v>
                </c:pt>
                <c:pt idx="4">
                  <c:v>0.027231768358389325</c:v>
                </c:pt>
                <c:pt idx="5">
                  <c:v>0.14762693303421914</c:v>
                </c:pt>
                <c:pt idx="6">
                  <c:v>0.13467382647792436</c:v>
                </c:pt>
                <c:pt idx="7">
                  <c:v>0.15483900827319605</c:v>
                </c:pt>
                <c:pt idx="8">
                  <c:v>0.26165380079754724</c:v>
                </c:pt>
                <c:pt idx="9">
                  <c:v>0.18614307658344179</c:v>
                </c:pt>
                <c:pt idx="10">
                  <c:v>0.0204385684151761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61116322273985</c:v>
                </c:pt>
                <c:pt idx="1">
                  <c:v>0.023450659593645454</c:v>
                </c:pt>
                <c:pt idx="2">
                  <c:v>0.04241816351180766</c:v>
                </c:pt>
                <c:pt idx="3">
                  <c:v>0.020666175437598685</c:v>
                </c:pt>
                <c:pt idx="4">
                  <c:v>0.05022300927181057</c:v>
                </c:pt>
                <c:pt idx="5">
                  <c:v>0.07248607276688022</c:v>
                </c:pt>
                <c:pt idx="6">
                  <c:v>0.14481255446315666</c:v>
                </c:pt>
                <c:pt idx="7">
                  <c:v>0.16464962829241298</c:v>
                </c:pt>
                <c:pt idx="8">
                  <c:v>0.37080110599668015</c:v>
                </c:pt>
                <c:pt idx="9">
                  <c:v>0.07144259879591691</c:v>
                </c:pt>
                <c:pt idx="10">
                  <c:v>0.00293839964269222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213776378052894</c:v>
                </c:pt>
                <c:pt idx="1">
                  <c:v>0.07601075758833604</c:v>
                </c:pt>
                <c:pt idx="2">
                  <c:v>0.019801583306298543</c:v>
                </c:pt>
                <c:pt idx="3">
                  <c:v>0.03862397741285231</c:v>
                </c:pt>
                <c:pt idx="4">
                  <c:v>0.07041816290230561</c:v>
                </c:pt>
                <c:pt idx="5">
                  <c:v>0.21572543411195483</c:v>
                </c:pt>
                <c:pt idx="6">
                  <c:v>0.35475670948466687</c:v>
                </c:pt>
                <c:pt idx="7">
                  <c:v>0.11896334298735282</c:v>
                </c:pt>
                <c:pt idx="8">
                  <c:v>0.03931459111135447</c:v>
                </c:pt>
                <c:pt idx="9">
                  <c:v>0.0242476773143495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680547764915187</c:v>
                </c:pt>
                <c:pt idx="1">
                  <c:v>0.04540702001606817</c:v>
                </c:pt>
                <c:pt idx="2">
                  <c:v>0.03409405223563892</c:v>
                </c:pt>
                <c:pt idx="3">
                  <c:v>0.10811884818817145</c:v>
                </c:pt>
                <c:pt idx="4">
                  <c:v>0.165406791758633</c:v>
                </c:pt>
                <c:pt idx="5">
                  <c:v>0.09972993258424921</c:v>
                </c:pt>
                <c:pt idx="6">
                  <c:v>0.09573927311006256</c:v>
                </c:pt>
                <c:pt idx="7">
                  <c:v>0.19579893844579263</c:v>
                </c:pt>
                <c:pt idx="8">
                  <c:v>0.18662621492811068</c:v>
                </c:pt>
                <c:pt idx="9">
                  <c:v>0.02094787125337853</c:v>
                </c:pt>
                <c:pt idx="10">
                  <c:v>0.0113255798307429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27770080751443327</c:v>
                </c:pt>
                <c:pt idx="3">
                  <c:v>0.0318619674360169</c:v>
                </c:pt>
                <c:pt idx="4">
                  <c:v>0.01691900346938896</c:v>
                </c:pt>
                <c:pt idx="5">
                  <c:v>0.020802357138447355</c:v>
                </c:pt>
                <c:pt idx="6">
                  <c:v>0.017400080824634567</c:v>
                </c:pt>
                <c:pt idx="7">
                  <c:v>0.0519806273945063</c:v>
                </c:pt>
                <c:pt idx="8">
                  <c:v>0.0617183294152586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27505558144520048</c:v>
                </c:pt>
                <c:pt idx="2">
                  <c:v>0.004450325450931046</c:v>
                </c:pt>
                <c:pt idx="3">
                  <c:v>0.06471624922901417</c:v>
                </c:pt>
                <c:pt idx="4">
                  <c:v>0.024844439046991046</c:v>
                </c:pt>
                <c:pt idx="5">
                  <c:v>0.06507363197089366</c:v>
                </c:pt>
                <c:pt idx="6">
                  <c:v>0.12226394010157357</c:v>
                </c:pt>
                <c:pt idx="7">
                  <c:v>0.2443730593021367</c:v>
                </c:pt>
                <c:pt idx="8">
                  <c:v>0.24572902336939234</c:v>
                </c:pt>
                <c:pt idx="9">
                  <c:v>0.15850126894474115</c:v>
                </c:pt>
                <c:pt idx="10">
                  <c:v>0.0424377845533649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45544047456652</c:v>
                </c:pt>
                <c:pt idx="7">
                  <c:v>0.0026853604363414013</c:v>
                </c:pt>
                <c:pt idx="8">
                  <c:v>0.00310633033399305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549127697873031</c:v>
                </c:pt>
                <c:pt idx="1">
                  <c:v>0.018015538173938125</c:v>
                </c:pt>
                <c:pt idx="2">
                  <c:v>0.048921228940550794</c:v>
                </c:pt>
                <c:pt idx="3">
                  <c:v>0.040205132124715194</c:v>
                </c:pt>
                <c:pt idx="4">
                  <c:v>0.0350864456082146</c:v>
                </c:pt>
                <c:pt idx="5">
                  <c:v>0.12366001487517939</c:v>
                </c:pt>
                <c:pt idx="6">
                  <c:v>0.1497106993230088</c:v>
                </c:pt>
                <c:pt idx="7">
                  <c:v>0.1647679430192327</c:v>
                </c:pt>
                <c:pt idx="8">
                  <c:v>0.16299902679493175</c:v>
                </c:pt>
                <c:pt idx="9">
                  <c:v>0.1966570314498176</c:v>
                </c:pt>
                <c:pt idx="10">
                  <c:v>0.04642781199253801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65898334756715</c:v>
                </c:pt>
                <c:pt idx="1">
                  <c:v>0.020705941386764733</c:v>
                </c:pt>
                <c:pt idx="2">
                  <c:v>0.0162787334152966</c:v>
                </c:pt>
                <c:pt idx="3">
                  <c:v>0.017548824161276975</c:v>
                </c:pt>
                <c:pt idx="4">
                  <c:v>0.05770154953814584</c:v>
                </c:pt>
                <c:pt idx="5">
                  <c:v>0.14579996000114004</c:v>
                </c:pt>
                <c:pt idx="6">
                  <c:v>0.1286472547711171</c:v>
                </c:pt>
                <c:pt idx="7">
                  <c:v>0.1797236450590925</c:v>
                </c:pt>
                <c:pt idx="8">
                  <c:v>0.24907140238754868</c:v>
                </c:pt>
                <c:pt idx="9">
                  <c:v>0.15553268833943143</c:v>
                </c:pt>
                <c:pt idx="10">
                  <c:v>0.005624102605429428</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7058601382366944</c:v>
                </c:pt>
                <c:pt idx="1">
                  <c:v>0.04407534036648154</c:v>
                </c:pt>
                <c:pt idx="2">
                  <c:v>0.03914814710229394</c:v>
                </c:pt>
                <c:pt idx="3">
                  <c:v>0.024302963422487257</c:v>
                </c:pt>
                <c:pt idx="4">
                  <c:v>0.0682648359100086</c:v>
                </c:pt>
                <c:pt idx="5">
                  <c:v>0.08108512902596</c:v>
                </c:pt>
                <c:pt idx="6">
                  <c:v>0.1739101950115808</c:v>
                </c:pt>
                <c:pt idx="7">
                  <c:v>0.21549263910120092</c:v>
                </c:pt>
                <c:pt idx="8">
                  <c:v>0.18617788954780065</c:v>
                </c:pt>
                <c:pt idx="9">
                  <c:v>0.09837316300554058</c:v>
                </c:pt>
                <c:pt idx="10">
                  <c:v>0.01211109612427878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5</c:v>
                </c:pt>
                <c:pt idx="2">
                  <c:v>0.01391455219372234</c:v>
                </c:pt>
                <c:pt idx="3">
                  <c:v>0.09004346085649975</c:v>
                </c:pt>
                <c:pt idx="4">
                  <c:v>0.057044640694140274</c:v>
                </c:pt>
                <c:pt idx="5">
                  <c:v>0.12465870549148711</c:v>
                </c:pt>
                <c:pt idx="6">
                  <c:v>0.11514928294657306</c:v>
                </c:pt>
                <c:pt idx="7">
                  <c:v>0.1871274516940177</c:v>
                </c:pt>
                <c:pt idx="8">
                  <c:v>0.214304498826981</c:v>
                </c:pt>
                <c:pt idx="9">
                  <c:v>0.1089918396807116</c:v>
                </c:pt>
                <c:pt idx="10">
                  <c:v>0.0638224042507857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407799527141667</c:v>
                </c:pt>
                <c:pt idx="1">
                  <c:v>0.02062966834660215</c:v>
                </c:pt>
                <c:pt idx="2">
                  <c:v>0.08008332120232514</c:v>
                </c:pt>
                <c:pt idx="3">
                  <c:v>0.02838012765167107</c:v>
                </c:pt>
                <c:pt idx="4">
                  <c:v>0.14083598542271128</c:v>
                </c:pt>
                <c:pt idx="5">
                  <c:v>0.2811521153131808</c:v>
                </c:pt>
                <c:pt idx="6">
                  <c:v>0.22040258842250043</c:v>
                </c:pt>
                <c:pt idx="7">
                  <c:v>0.07644417561014788</c:v>
                </c:pt>
                <c:pt idx="8">
                  <c:v>0.08295570341441867</c:v>
                </c:pt>
                <c:pt idx="9">
                  <c:v>0.01503831934502595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3889779998381663</c:v>
                </c:pt>
                <c:pt idx="2">
                  <c:v>0.01763736145551981</c:v>
                </c:pt>
                <c:pt idx="3">
                  <c:v>0.22477381694972196</c:v>
                </c:pt>
                <c:pt idx="4">
                  <c:v>0.11083399654413399</c:v>
                </c:pt>
                <c:pt idx="5">
                  <c:v>0.10979447122894243</c:v>
                </c:pt>
                <c:pt idx="6">
                  <c:v>0.017616876179823847</c:v>
                </c:pt>
                <c:pt idx="7">
                  <c:v>0.22932390396093047</c:v>
                </c:pt>
                <c:pt idx="8">
                  <c:v>0.1685322607242979</c:v>
                </c:pt>
                <c:pt idx="9">
                  <c:v>0.082145443408913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3889779998381663</c:v>
                </c:pt>
                <c:pt idx="2">
                  <c:v>0.008003546001222972</c:v>
                </c:pt>
                <c:pt idx="4">
                  <c:v>0.000746483446360842</c:v>
                </c:pt>
                <c:pt idx="5">
                  <c:v>0.052241447653462884</c:v>
                </c:pt>
                <c:pt idx="6">
                  <c:v>0.007650994406495471</c:v>
                </c:pt>
                <c:pt idx="7">
                  <c:v>0.06491184673736135</c:v>
                </c:pt>
                <c:pt idx="8">
                  <c:v>0.061714556119924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594367525237686</c:v>
                </c:pt>
                <c:pt idx="2">
                  <c:v>0.004252032066076116</c:v>
                </c:pt>
                <c:pt idx="3">
                  <c:v>0.0849441658281238</c:v>
                </c:pt>
                <c:pt idx="4">
                  <c:v>0.02767727653606431</c:v>
                </c:pt>
                <c:pt idx="5">
                  <c:v>0.10953939421161027</c:v>
                </c:pt>
                <c:pt idx="6">
                  <c:v>0.12398962027820842</c:v>
                </c:pt>
                <c:pt idx="7">
                  <c:v>0.1210615521418764</c:v>
                </c:pt>
                <c:pt idx="8">
                  <c:v>0.3262023710047276</c:v>
                </c:pt>
                <c:pt idx="9">
                  <c:v>0.10121561452946574</c:v>
                </c:pt>
                <c:pt idx="10">
                  <c:v>0.0950555590826723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123346018853603</c:v>
                </c:pt>
                <c:pt idx="2">
                  <c:v>0.0008484127522529444</c:v>
                </c:pt>
                <c:pt idx="5">
                  <c:v>0.0055378341523344725</c:v>
                </c:pt>
                <c:pt idx="6">
                  <c:v>0.0008144173936020193</c:v>
                </c:pt>
                <c:pt idx="7">
                  <c:v>0.006970389445443302</c:v>
                </c:pt>
                <c:pt idx="8">
                  <c:v>0.00739440852679598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6400875063420107</c:v>
                </c:pt>
                <c:pt idx="8">
                  <c:v>0.006100530494765029</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872184253652326</c:v>
                </c:pt>
                <c:pt idx="1">
                  <c:v>0.0064377750810823645</c:v>
                </c:pt>
                <c:pt idx="2">
                  <c:v>0.023401097734032036</c:v>
                </c:pt>
                <c:pt idx="3">
                  <c:v>0.09046787823725069</c:v>
                </c:pt>
                <c:pt idx="4">
                  <c:v>0.026029595140876296</c:v>
                </c:pt>
                <c:pt idx="5">
                  <c:v>0.11858627354648475</c:v>
                </c:pt>
                <c:pt idx="6">
                  <c:v>0.12647657415686708</c:v>
                </c:pt>
                <c:pt idx="7">
                  <c:v>0.19717935221122623</c:v>
                </c:pt>
                <c:pt idx="8">
                  <c:v>0.1470544346951471</c:v>
                </c:pt>
                <c:pt idx="9">
                  <c:v>0.1255618047012625</c:v>
                </c:pt>
                <c:pt idx="10">
                  <c:v>0.1341179960704057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135215450686418</c:v>
                </c:pt>
                <c:pt idx="1">
                  <c:v>0.0018944882812584778</c:v>
                </c:pt>
                <c:pt idx="2">
                  <c:v>0.0041063764779702226</c:v>
                </c:pt>
                <c:pt idx="3">
                  <c:v>0.01662843254070168</c:v>
                </c:pt>
                <c:pt idx="4">
                  <c:v>0.07293795557510468</c:v>
                </c:pt>
                <c:pt idx="5">
                  <c:v>0.15797971891225537</c:v>
                </c:pt>
                <c:pt idx="6">
                  <c:v>0.09598337906718378</c:v>
                </c:pt>
                <c:pt idx="7">
                  <c:v>0.21068997706434744</c:v>
                </c:pt>
                <c:pt idx="8">
                  <c:v>0.19968366113881508</c:v>
                </c:pt>
                <c:pt idx="9">
                  <c:v>0.15604544109593402</c:v>
                </c:pt>
                <c:pt idx="10">
                  <c:v>0.04269841533956509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16552582285686</c:v>
                </c:pt>
                <c:pt idx="1">
                  <c:v>0.009453718885226003</c:v>
                </c:pt>
                <c:pt idx="2">
                  <c:v>0.020219498100420973</c:v>
                </c:pt>
                <c:pt idx="3">
                  <c:v>0.008240412408021246</c:v>
                </c:pt>
                <c:pt idx="4">
                  <c:v>0.05553369529734231</c:v>
                </c:pt>
                <c:pt idx="5">
                  <c:v>0.09321378517433843</c:v>
                </c:pt>
                <c:pt idx="6">
                  <c:v>0.216150125010367</c:v>
                </c:pt>
                <c:pt idx="7">
                  <c:v>0.151632184131818</c:v>
                </c:pt>
                <c:pt idx="8">
                  <c:v>0.34844429515359976</c:v>
                </c:pt>
                <c:pt idx="9">
                  <c:v>0.082946760016009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0379942463993448</c:v>
                </c:pt>
                <c:pt idx="1">
                  <c:v>0.09152991779240488</c:v>
                </c:pt>
                <c:pt idx="2">
                  <c:v>0.004866168269544087</c:v>
                </c:pt>
                <c:pt idx="3">
                  <c:v>0.04143895876586197</c:v>
                </c:pt>
                <c:pt idx="4">
                  <c:v>0.12055059537663741</c:v>
                </c:pt>
                <c:pt idx="5">
                  <c:v>0.23404232341194106</c:v>
                </c:pt>
                <c:pt idx="6">
                  <c:v>0.1719810820120844</c:v>
                </c:pt>
                <c:pt idx="7">
                  <c:v>0.228922177430617</c:v>
                </c:pt>
                <c:pt idx="8">
                  <c:v>0.04438874975561162</c:v>
                </c:pt>
                <c:pt idx="9">
                  <c:v>0.031900084721304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9714416230522547</c:v>
                </c:pt>
                <c:pt idx="1">
                  <c:v>0.022345770538797674</c:v>
                </c:pt>
                <c:pt idx="2">
                  <c:v>0.03429018394452343</c:v>
                </c:pt>
                <c:pt idx="3">
                  <c:v>0.08080788065448997</c:v>
                </c:pt>
                <c:pt idx="4">
                  <c:v>0.16453614933211275</c:v>
                </c:pt>
                <c:pt idx="5">
                  <c:v>0.12102190703651872</c:v>
                </c:pt>
                <c:pt idx="6">
                  <c:v>0.06837932156017054</c:v>
                </c:pt>
                <c:pt idx="7">
                  <c:v>0.277033238563723</c:v>
                </c:pt>
                <c:pt idx="8">
                  <c:v>0.16530007726544974</c:v>
                </c:pt>
                <c:pt idx="9">
                  <c:v>0.042694142118576014</c:v>
                </c:pt>
                <c:pt idx="10">
                  <c:v>0.0038769127551155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7015941668175954</c:v>
                </c:pt>
                <c:pt idx="4">
                  <c:v>0.0390813591997439</c:v>
                </c:pt>
                <c:pt idx="5">
                  <c:v>0.04124769773083601</c:v>
                </c:pt>
                <c:pt idx="6">
                  <c:v>0.022447565871506092</c:v>
                </c:pt>
                <c:pt idx="7">
                  <c:v>0.07007288007793164</c:v>
                </c:pt>
                <c:pt idx="8">
                  <c:v>0.01775360760129362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12574445260241806</c:v>
                </c:pt>
                <c:pt idx="2">
                  <c:v>0.0076663425080420455</c:v>
                </c:pt>
                <c:pt idx="3">
                  <c:v>0.05797876578862857</c:v>
                </c:pt>
                <c:pt idx="4">
                  <c:v>0.023980990241791268</c:v>
                </c:pt>
                <c:pt idx="5">
                  <c:v>0.021307474066270562</c:v>
                </c:pt>
                <c:pt idx="6">
                  <c:v>0.18064157338881034</c:v>
                </c:pt>
                <c:pt idx="7">
                  <c:v>0.14442246881480472</c:v>
                </c:pt>
                <c:pt idx="8">
                  <c:v>0.30330573706980096</c:v>
                </c:pt>
                <c:pt idx="9">
                  <c:v>0.14396439387256088</c:v>
                </c:pt>
                <c:pt idx="10">
                  <c:v>0.104021886205869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44032689602338</c:v>
                </c:pt>
                <c:pt idx="1">
                  <c:v>0.016414059402893172</c:v>
                </c:pt>
                <c:pt idx="2">
                  <c:v>0.018161040186737358</c:v>
                </c:pt>
                <c:pt idx="3">
                  <c:v>0.041076518711765486</c:v>
                </c:pt>
                <c:pt idx="4">
                  <c:v>0.07194189086716343</c:v>
                </c:pt>
                <c:pt idx="5">
                  <c:v>0.09244733293971688</c:v>
                </c:pt>
                <c:pt idx="6">
                  <c:v>0.10831682527395142</c:v>
                </c:pt>
                <c:pt idx="7">
                  <c:v>0.1890237751026156</c:v>
                </c:pt>
                <c:pt idx="8">
                  <c:v>0.19576873044059107</c:v>
                </c:pt>
                <c:pt idx="9">
                  <c:v>0.049546663979823755</c:v>
                </c:pt>
                <c:pt idx="10">
                  <c:v>0.211159130405139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366118400716372</c:v>
                </c:pt>
                <c:pt idx="1">
                  <c:v>0.01797997102747441</c:v>
                </c:pt>
                <c:pt idx="2">
                  <c:v>0.0110865325842958</c:v>
                </c:pt>
                <c:pt idx="3">
                  <c:v>0.013960396047619254</c:v>
                </c:pt>
                <c:pt idx="4">
                  <c:v>0.027231768358389325</c:v>
                </c:pt>
                <c:pt idx="5">
                  <c:v>0.14762693303421914</c:v>
                </c:pt>
                <c:pt idx="6">
                  <c:v>0.13467382647792436</c:v>
                </c:pt>
                <c:pt idx="7">
                  <c:v>0.15483900827319605</c:v>
                </c:pt>
                <c:pt idx="8">
                  <c:v>0.26165380079754724</c:v>
                </c:pt>
                <c:pt idx="9">
                  <c:v>0.18614307658344179</c:v>
                </c:pt>
                <c:pt idx="10">
                  <c:v>0.0204385684151761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4580878578177295</c:v>
                </c:pt>
                <c:pt idx="3">
                  <c:v>0.0006889822634042167</c:v>
                </c:pt>
                <c:pt idx="4">
                  <c:v>0.0010002568881030992</c:v>
                </c:pt>
                <c:pt idx="5">
                  <c:v>0.0026683789960321833</c:v>
                </c:pt>
                <c:pt idx="7">
                  <c:v>0.006489805368138759</c:v>
                </c:pt>
                <c:pt idx="8">
                  <c:v>0.00694927156643038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61116322273985</c:v>
                </c:pt>
                <c:pt idx="1">
                  <c:v>0.023450659593645454</c:v>
                </c:pt>
                <c:pt idx="2">
                  <c:v>0.04241816351180766</c:v>
                </c:pt>
                <c:pt idx="3">
                  <c:v>0.020666175437598685</c:v>
                </c:pt>
                <c:pt idx="4">
                  <c:v>0.05022300927181057</c:v>
                </c:pt>
                <c:pt idx="5">
                  <c:v>0.07248607276688022</c:v>
                </c:pt>
                <c:pt idx="6">
                  <c:v>0.14481255446315666</c:v>
                </c:pt>
                <c:pt idx="7">
                  <c:v>0.16464962829241298</c:v>
                </c:pt>
                <c:pt idx="8">
                  <c:v>0.37080110599668015</c:v>
                </c:pt>
                <c:pt idx="9">
                  <c:v>0.07144259879591691</c:v>
                </c:pt>
                <c:pt idx="10">
                  <c:v>0.00293839964269222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213776378052894</c:v>
                </c:pt>
                <c:pt idx="1">
                  <c:v>0.07601075758833604</c:v>
                </c:pt>
                <c:pt idx="2">
                  <c:v>0.019801583306298543</c:v>
                </c:pt>
                <c:pt idx="3">
                  <c:v>0.03862397741285231</c:v>
                </c:pt>
                <c:pt idx="4">
                  <c:v>0.07041816290230561</c:v>
                </c:pt>
                <c:pt idx="5">
                  <c:v>0.21572543411195483</c:v>
                </c:pt>
                <c:pt idx="6">
                  <c:v>0.35475670948466687</c:v>
                </c:pt>
                <c:pt idx="7">
                  <c:v>0.11896334298735282</c:v>
                </c:pt>
                <c:pt idx="8">
                  <c:v>0.03931459111135447</c:v>
                </c:pt>
                <c:pt idx="9">
                  <c:v>0.0242476773143495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680547764915187</c:v>
                </c:pt>
                <c:pt idx="1">
                  <c:v>0.04540702001606817</c:v>
                </c:pt>
                <c:pt idx="2">
                  <c:v>0.03409405223563892</c:v>
                </c:pt>
                <c:pt idx="3">
                  <c:v>0.10811884818817145</c:v>
                </c:pt>
                <c:pt idx="4">
                  <c:v>0.165406791758633</c:v>
                </c:pt>
                <c:pt idx="5">
                  <c:v>0.09972993258424921</c:v>
                </c:pt>
                <c:pt idx="6">
                  <c:v>0.09573927311006256</c:v>
                </c:pt>
                <c:pt idx="7">
                  <c:v>0.19579893844579263</c:v>
                </c:pt>
                <c:pt idx="8">
                  <c:v>0.18662621492811068</c:v>
                </c:pt>
                <c:pt idx="9">
                  <c:v>0.02094787125337853</c:v>
                </c:pt>
                <c:pt idx="10">
                  <c:v>0.0113255798307429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6730220097645388</c:v>
                </c:pt>
                <c:pt idx="4">
                  <c:v>0.07325827275035034</c:v>
                </c:pt>
                <c:pt idx="5">
                  <c:v>0.0346323593536196</c:v>
                </c:pt>
                <c:pt idx="6">
                  <c:v>0.031598520312906206</c:v>
                </c:pt>
                <c:pt idx="7">
                  <c:v>0.040062529304925924</c:v>
                </c:pt>
                <c:pt idx="8">
                  <c:v>0.01794794002006598</c:v>
                </c:pt>
                <c:pt idx="9">
                  <c:v>0.01389248355295599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27505558144520048</c:v>
                </c:pt>
                <c:pt idx="2">
                  <c:v>0.004450325450931046</c:v>
                </c:pt>
                <c:pt idx="3">
                  <c:v>0.06471624922901417</c:v>
                </c:pt>
                <c:pt idx="4">
                  <c:v>0.024844439046991046</c:v>
                </c:pt>
                <c:pt idx="5">
                  <c:v>0.06507363197089366</c:v>
                </c:pt>
                <c:pt idx="6">
                  <c:v>0.12226394010157357</c:v>
                </c:pt>
                <c:pt idx="7">
                  <c:v>0.2443730593021367</c:v>
                </c:pt>
                <c:pt idx="8">
                  <c:v>0.24572902336939234</c:v>
                </c:pt>
                <c:pt idx="9">
                  <c:v>0.15850126894474115</c:v>
                </c:pt>
                <c:pt idx="10">
                  <c:v>0.0424377845533649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549127697873031</c:v>
                </c:pt>
                <c:pt idx="1">
                  <c:v>0.018015538173938125</c:v>
                </c:pt>
                <c:pt idx="2">
                  <c:v>0.048921228940550794</c:v>
                </c:pt>
                <c:pt idx="3">
                  <c:v>0.040205132124715194</c:v>
                </c:pt>
                <c:pt idx="4">
                  <c:v>0.0350864456082146</c:v>
                </c:pt>
                <c:pt idx="5">
                  <c:v>0.12366001487517939</c:v>
                </c:pt>
                <c:pt idx="6">
                  <c:v>0.1497106993230088</c:v>
                </c:pt>
                <c:pt idx="7">
                  <c:v>0.1647679430192327</c:v>
                </c:pt>
                <c:pt idx="8">
                  <c:v>0.16299902679493175</c:v>
                </c:pt>
                <c:pt idx="9">
                  <c:v>0.1966570314498176</c:v>
                </c:pt>
                <c:pt idx="10">
                  <c:v>0.04642781199253801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65898334756715</c:v>
                </c:pt>
                <c:pt idx="1">
                  <c:v>0.020705941386764733</c:v>
                </c:pt>
                <c:pt idx="2">
                  <c:v>0.0162787334152966</c:v>
                </c:pt>
                <c:pt idx="3">
                  <c:v>0.017548824161276975</c:v>
                </c:pt>
                <c:pt idx="4">
                  <c:v>0.05770154953814584</c:v>
                </c:pt>
                <c:pt idx="5">
                  <c:v>0.14579996000114004</c:v>
                </c:pt>
                <c:pt idx="6">
                  <c:v>0.1286472547711171</c:v>
                </c:pt>
                <c:pt idx="7">
                  <c:v>0.1797236450590925</c:v>
                </c:pt>
                <c:pt idx="8">
                  <c:v>0.24907140238754868</c:v>
                </c:pt>
                <c:pt idx="9">
                  <c:v>0.15553268833943143</c:v>
                </c:pt>
                <c:pt idx="10">
                  <c:v>0.005624102605429428</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7058601382366944</c:v>
                </c:pt>
                <c:pt idx="1">
                  <c:v>0.04407534036648154</c:v>
                </c:pt>
                <c:pt idx="2">
                  <c:v>0.03914814710229394</c:v>
                </c:pt>
                <c:pt idx="3">
                  <c:v>0.024302963422487257</c:v>
                </c:pt>
                <c:pt idx="4">
                  <c:v>0.0682648359100086</c:v>
                </c:pt>
                <c:pt idx="5">
                  <c:v>0.08108512902596</c:v>
                </c:pt>
                <c:pt idx="6">
                  <c:v>0.1739101950115808</c:v>
                </c:pt>
                <c:pt idx="7">
                  <c:v>0.21549263910120092</c:v>
                </c:pt>
                <c:pt idx="8">
                  <c:v>0.18617788954780065</c:v>
                </c:pt>
                <c:pt idx="9">
                  <c:v>0.09837316300554058</c:v>
                </c:pt>
                <c:pt idx="10">
                  <c:v>0.01211109612427878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407799527141667</c:v>
                </c:pt>
                <c:pt idx="1">
                  <c:v>0.02062966834660215</c:v>
                </c:pt>
                <c:pt idx="2">
                  <c:v>0.08008332120232514</c:v>
                </c:pt>
                <c:pt idx="3">
                  <c:v>0.02838012765167107</c:v>
                </c:pt>
                <c:pt idx="4">
                  <c:v>0.14083598542271128</c:v>
                </c:pt>
                <c:pt idx="5">
                  <c:v>0.2811521153131808</c:v>
                </c:pt>
                <c:pt idx="6">
                  <c:v>0.22040258842250043</c:v>
                </c:pt>
                <c:pt idx="7">
                  <c:v>0.07644417561014788</c:v>
                </c:pt>
                <c:pt idx="8">
                  <c:v>0.08295570341441867</c:v>
                </c:pt>
                <c:pt idx="9">
                  <c:v>0.01503831934502595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3889779998381663</c:v>
                </c:pt>
                <c:pt idx="2">
                  <c:v>0.01763736145551981</c:v>
                </c:pt>
                <c:pt idx="3">
                  <c:v>0.22477381694972196</c:v>
                </c:pt>
                <c:pt idx="4">
                  <c:v>0.11083399654413399</c:v>
                </c:pt>
                <c:pt idx="5">
                  <c:v>0.10979447122894243</c:v>
                </c:pt>
                <c:pt idx="6">
                  <c:v>0.017616876179823847</c:v>
                </c:pt>
                <c:pt idx="7">
                  <c:v>0.22932390396093047</c:v>
                </c:pt>
                <c:pt idx="8">
                  <c:v>0.1685322607242979</c:v>
                </c:pt>
                <c:pt idx="9">
                  <c:v>0.082145443408913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9624955572558335</c:v>
                </c:pt>
                <c:pt idx="3">
                  <c:v>0.07844769750622496</c:v>
                </c:pt>
                <c:pt idx="4">
                  <c:v>0.08989056765723218</c:v>
                </c:pt>
                <c:pt idx="5">
                  <c:v>0.0011853292649575801</c:v>
                </c:pt>
                <c:pt idx="6">
                  <c:v>0.009911237300409399</c:v>
                </c:pt>
                <c:pt idx="7">
                  <c:v>0.09702676708548813</c:v>
                </c:pt>
                <c:pt idx="8">
                  <c:v>0.00370829581967221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594367525237686</c:v>
                </c:pt>
                <c:pt idx="2">
                  <c:v>0.004252032066076116</c:v>
                </c:pt>
                <c:pt idx="3">
                  <c:v>0.0849441658281238</c:v>
                </c:pt>
                <c:pt idx="4">
                  <c:v>0.02767727653606431</c:v>
                </c:pt>
                <c:pt idx="5">
                  <c:v>0.10953939421161027</c:v>
                </c:pt>
                <c:pt idx="6">
                  <c:v>0.12398962027820842</c:v>
                </c:pt>
                <c:pt idx="7">
                  <c:v>0.1210615521418764</c:v>
                </c:pt>
                <c:pt idx="8">
                  <c:v>0.3262023710047276</c:v>
                </c:pt>
                <c:pt idx="9">
                  <c:v>0.10121561452946574</c:v>
                </c:pt>
                <c:pt idx="10">
                  <c:v>0.0950555590826723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872184253652326</c:v>
                </c:pt>
                <c:pt idx="1">
                  <c:v>0.0064377750810823645</c:v>
                </c:pt>
                <c:pt idx="2">
                  <c:v>0.023401097734032036</c:v>
                </c:pt>
                <c:pt idx="3">
                  <c:v>0.09046787823725069</c:v>
                </c:pt>
                <c:pt idx="4">
                  <c:v>0.026029595140876296</c:v>
                </c:pt>
                <c:pt idx="5">
                  <c:v>0.11858627354648475</c:v>
                </c:pt>
                <c:pt idx="6">
                  <c:v>0.12647657415686708</c:v>
                </c:pt>
                <c:pt idx="7">
                  <c:v>0.19717935221122623</c:v>
                </c:pt>
                <c:pt idx="8">
                  <c:v>0.1470544346951471</c:v>
                </c:pt>
                <c:pt idx="9">
                  <c:v>0.1255618047012625</c:v>
                </c:pt>
                <c:pt idx="10">
                  <c:v>0.1341179960704057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135215450686418</c:v>
                </c:pt>
                <c:pt idx="1">
                  <c:v>0.0018944882812584778</c:v>
                </c:pt>
                <c:pt idx="2">
                  <c:v>0.0041063764779702226</c:v>
                </c:pt>
                <c:pt idx="3">
                  <c:v>0.01662843254070168</c:v>
                </c:pt>
                <c:pt idx="4">
                  <c:v>0.07293795557510468</c:v>
                </c:pt>
                <c:pt idx="5">
                  <c:v>0.15797971891225537</c:v>
                </c:pt>
                <c:pt idx="6">
                  <c:v>0.09598337906718378</c:v>
                </c:pt>
                <c:pt idx="7">
                  <c:v>0.21068997706434744</c:v>
                </c:pt>
                <c:pt idx="8">
                  <c:v>0.19968366113881508</c:v>
                </c:pt>
                <c:pt idx="9">
                  <c:v>0.15604544109593402</c:v>
                </c:pt>
                <c:pt idx="10">
                  <c:v>0.04269841533956509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16552582285686</c:v>
                </c:pt>
                <c:pt idx="1">
                  <c:v>0.009453718885226003</c:v>
                </c:pt>
                <c:pt idx="2">
                  <c:v>0.020219498100420973</c:v>
                </c:pt>
                <c:pt idx="3">
                  <c:v>0.008240412408021246</c:v>
                </c:pt>
                <c:pt idx="4">
                  <c:v>0.05553369529734231</c:v>
                </c:pt>
                <c:pt idx="5">
                  <c:v>0.09321378517433843</c:v>
                </c:pt>
                <c:pt idx="6">
                  <c:v>0.216150125010367</c:v>
                </c:pt>
                <c:pt idx="7">
                  <c:v>0.151632184131818</c:v>
                </c:pt>
                <c:pt idx="8">
                  <c:v>0.34844429515359976</c:v>
                </c:pt>
                <c:pt idx="9">
                  <c:v>0.082946760016009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0379942463993448</c:v>
                </c:pt>
                <c:pt idx="1">
                  <c:v>0.09152991779240488</c:v>
                </c:pt>
                <c:pt idx="2">
                  <c:v>0.004866168269544087</c:v>
                </c:pt>
                <c:pt idx="3">
                  <c:v>0.04143895876586197</c:v>
                </c:pt>
                <c:pt idx="4">
                  <c:v>0.12055059537663741</c:v>
                </c:pt>
                <c:pt idx="5">
                  <c:v>0.23404232341194106</c:v>
                </c:pt>
                <c:pt idx="6">
                  <c:v>0.1719810820120844</c:v>
                </c:pt>
                <c:pt idx="7">
                  <c:v>0.228922177430617</c:v>
                </c:pt>
                <c:pt idx="8">
                  <c:v>0.04438874975561162</c:v>
                </c:pt>
                <c:pt idx="9">
                  <c:v>0.031900084721304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9714416230522547</c:v>
                </c:pt>
                <c:pt idx="1">
                  <c:v>0.022345770538797674</c:v>
                </c:pt>
                <c:pt idx="2">
                  <c:v>0.03429018394452343</c:v>
                </c:pt>
                <c:pt idx="3">
                  <c:v>0.08080788065448997</c:v>
                </c:pt>
                <c:pt idx="4">
                  <c:v>0.16453614933211275</c:v>
                </c:pt>
                <c:pt idx="5">
                  <c:v>0.12102190703651872</c:v>
                </c:pt>
                <c:pt idx="6">
                  <c:v>0.06837932156017054</c:v>
                </c:pt>
                <c:pt idx="7">
                  <c:v>0.277033238563723</c:v>
                </c:pt>
                <c:pt idx="8">
                  <c:v>0.16530007726544974</c:v>
                </c:pt>
                <c:pt idx="9">
                  <c:v>0.042694142118576014</c:v>
                </c:pt>
                <c:pt idx="10">
                  <c:v>0.0038769127551155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12574445260241806</c:v>
                </c:pt>
                <c:pt idx="2">
                  <c:v>0.0076663425080420455</c:v>
                </c:pt>
                <c:pt idx="3">
                  <c:v>0.05797876578862857</c:v>
                </c:pt>
                <c:pt idx="4">
                  <c:v>0.023980990241791268</c:v>
                </c:pt>
                <c:pt idx="5">
                  <c:v>0.021307474066270562</c:v>
                </c:pt>
                <c:pt idx="6">
                  <c:v>0.18064157338881034</c:v>
                </c:pt>
                <c:pt idx="7">
                  <c:v>0.14442246881480472</c:v>
                </c:pt>
                <c:pt idx="8">
                  <c:v>0.30330573706980096</c:v>
                </c:pt>
                <c:pt idx="9">
                  <c:v>0.14396439387256088</c:v>
                </c:pt>
                <c:pt idx="10">
                  <c:v>0.104021886205869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4">
                  <c:v>0.0005216905811994124</c:v>
                </c:pt>
                <c:pt idx="5">
                  <c:v>0.01825891858014151</c:v>
                </c:pt>
                <c:pt idx="7">
                  <c:v>0.030103958299176215</c:v>
                </c:pt>
                <c:pt idx="8">
                  <c:v>0.03790488467516881</c:v>
                </c:pt>
                <c:pt idx="9">
                  <c:v>0.006090090250095975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44032689602338</c:v>
                </c:pt>
                <c:pt idx="1">
                  <c:v>0.016414059402893172</c:v>
                </c:pt>
                <c:pt idx="2">
                  <c:v>0.018161040186737358</c:v>
                </c:pt>
                <c:pt idx="3">
                  <c:v>0.041076518711765486</c:v>
                </c:pt>
                <c:pt idx="4">
                  <c:v>0.07194189086716343</c:v>
                </c:pt>
                <c:pt idx="5">
                  <c:v>0.09244733293971688</c:v>
                </c:pt>
                <c:pt idx="6">
                  <c:v>0.10831682527395142</c:v>
                </c:pt>
                <c:pt idx="7">
                  <c:v>0.1890237751026156</c:v>
                </c:pt>
                <c:pt idx="8">
                  <c:v>0.19576873044059107</c:v>
                </c:pt>
                <c:pt idx="9">
                  <c:v>0.049546663979823755</c:v>
                </c:pt>
                <c:pt idx="10">
                  <c:v>0.211159130405139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12295290510459986</c:v>
                </c:pt>
                <c:pt idx="8">
                  <c:v>0.0092465227018631</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366118400716372</c:v>
                </c:pt>
                <c:pt idx="1">
                  <c:v>0.01797997102747441</c:v>
                </c:pt>
                <c:pt idx="2">
                  <c:v>0.0110865325842958</c:v>
                </c:pt>
                <c:pt idx="3">
                  <c:v>0.013960396047619254</c:v>
                </c:pt>
                <c:pt idx="4">
                  <c:v>0.027231768358389325</c:v>
                </c:pt>
                <c:pt idx="5">
                  <c:v>0.14762693303421914</c:v>
                </c:pt>
                <c:pt idx="6">
                  <c:v>0.13467382647792436</c:v>
                </c:pt>
                <c:pt idx="7">
                  <c:v>0.15483900827319605</c:v>
                </c:pt>
                <c:pt idx="8">
                  <c:v>0.26165380079754724</c:v>
                </c:pt>
                <c:pt idx="9">
                  <c:v>0.18614307658344179</c:v>
                </c:pt>
                <c:pt idx="10">
                  <c:v>0.0204385684151761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61116322273985</c:v>
                </c:pt>
                <c:pt idx="1">
                  <c:v>0.023450659593645454</c:v>
                </c:pt>
                <c:pt idx="2">
                  <c:v>0.04241816351180766</c:v>
                </c:pt>
                <c:pt idx="3">
                  <c:v>0.020666175437598685</c:v>
                </c:pt>
                <c:pt idx="4">
                  <c:v>0.05022300927181057</c:v>
                </c:pt>
                <c:pt idx="5">
                  <c:v>0.07248607276688022</c:v>
                </c:pt>
                <c:pt idx="6">
                  <c:v>0.14481255446315666</c:v>
                </c:pt>
                <c:pt idx="7">
                  <c:v>0.16464962829241298</c:v>
                </c:pt>
                <c:pt idx="8">
                  <c:v>0.37080110599668015</c:v>
                </c:pt>
                <c:pt idx="9">
                  <c:v>0.07144259879591691</c:v>
                </c:pt>
                <c:pt idx="10">
                  <c:v>0.00293839964269222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6</c:v>
                </c:pt>
                <c:pt idx="1">
                  <c:v>0.019033626479877733</c:v>
                </c:pt>
                <c:pt idx="2">
                  <c:v>0.01982750828076984</c:v>
                </c:pt>
                <c:pt idx="3">
                  <c:v>0.04617630952150177</c:v>
                </c:pt>
                <c:pt idx="4">
                  <c:v>0.06914144718509652</c:v>
                </c:pt>
                <c:pt idx="5">
                  <c:v>0.0990885822044972</c:v>
                </c:pt>
                <c:pt idx="6">
                  <c:v>0.128900450578765</c:v>
                </c:pt>
                <c:pt idx="7">
                  <c:v>0.17819960100478047</c:v>
                </c:pt>
                <c:pt idx="8">
                  <c:v>0.2426326861233528</c:v>
                </c:pt>
                <c:pt idx="9">
                  <c:v>0.09166950552699936</c:v>
                </c:pt>
                <c:pt idx="10">
                  <c:v>0.0886259055872865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213776378052894</c:v>
                </c:pt>
                <c:pt idx="1">
                  <c:v>0.07601075758833604</c:v>
                </c:pt>
                <c:pt idx="2">
                  <c:v>0.019801583306298543</c:v>
                </c:pt>
                <c:pt idx="3">
                  <c:v>0.03862397741285231</c:v>
                </c:pt>
                <c:pt idx="4">
                  <c:v>0.07041816290230561</c:v>
                </c:pt>
                <c:pt idx="5">
                  <c:v>0.21572543411195483</c:v>
                </c:pt>
                <c:pt idx="6">
                  <c:v>0.35475670948466687</c:v>
                </c:pt>
                <c:pt idx="7">
                  <c:v>0.11896334298735282</c:v>
                </c:pt>
                <c:pt idx="8">
                  <c:v>0.03931459111135447</c:v>
                </c:pt>
                <c:pt idx="9">
                  <c:v>0.0242476773143495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680547764915187</c:v>
                </c:pt>
                <c:pt idx="1">
                  <c:v>0.04540702001606817</c:v>
                </c:pt>
                <c:pt idx="2">
                  <c:v>0.03409405223563892</c:v>
                </c:pt>
                <c:pt idx="3">
                  <c:v>0.10811884818817145</c:v>
                </c:pt>
                <c:pt idx="4">
                  <c:v>0.165406791758633</c:v>
                </c:pt>
                <c:pt idx="5">
                  <c:v>0.09972993258424921</c:v>
                </c:pt>
                <c:pt idx="6">
                  <c:v>0.09573927311006256</c:v>
                </c:pt>
                <c:pt idx="7">
                  <c:v>0.19579893844579263</c:v>
                </c:pt>
                <c:pt idx="8">
                  <c:v>0.18662621492811068</c:v>
                </c:pt>
                <c:pt idx="9">
                  <c:v>0.02094787125337853</c:v>
                </c:pt>
                <c:pt idx="10">
                  <c:v>0.0113255798307429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27505558144520048</c:v>
                </c:pt>
                <c:pt idx="2">
                  <c:v>0.004450325450931046</c:v>
                </c:pt>
                <c:pt idx="3">
                  <c:v>0.06471624922901417</c:v>
                </c:pt>
                <c:pt idx="4">
                  <c:v>0.024844439046991046</c:v>
                </c:pt>
                <c:pt idx="5">
                  <c:v>0.06507363197089366</c:v>
                </c:pt>
                <c:pt idx="6">
                  <c:v>0.12226394010157357</c:v>
                </c:pt>
                <c:pt idx="7">
                  <c:v>0.2443730593021367</c:v>
                </c:pt>
                <c:pt idx="8">
                  <c:v>0.24572902336939234</c:v>
                </c:pt>
                <c:pt idx="9">
                  <c:v>0.15850126894474115</c:v>
                </c:pt>
                <c:pt idx="10">
                  <c:v>0.0424377845533649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080153388383626</c:v>
                </c:pt>
                <c:pt idx="4">
                  <c:v>0.003943904194868299</c:v>
                </c:pt>
                <c:pt idx="5">
                  <c:v>0.004162520737261609</c:v>
                </c:pt>
                <c:pt idx="6">
                  <c:v>0.002265301182406048</c:v>
                </c:pt>
                <c:pt idx="7">
                  <c:v>0.007071420527453632</c:v>
                </c:pt>
                <c:pt idx="8">
                  <c:v>0.001791609322872437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0882278192255596</c:v>
                </c:pt>
                <c:pt idx="6">
                  <c:v>0.01692267970434872</c:v>
                </c:pt>
                <c:pt idx="7">
                  <c:v>0.03958883722423117</c:v>
                </c:pt>
                <c:pt idx="8">
                  <c:v>0.03447344271987417</c:v>
                </c:pt>
                <c:pt idx="9">
                  <c:v>0.008552573597412657</c:v>
                </c:pt>
                <c:pt idx="10">
                  <c:v>0.000729161939493213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549127697873031</c:v>
                </c:pt>
                <c:pt idx="1">
                  <c:v>0.018015538173938125</c:v>
                </c:pt>
                <c:pt idx="2">
                  <c:v>0.048921228940550794</c:v>
                </c:pt>
                <c:pt idx="3">
                  <c:v>0.040205132124715194</c:v>
                </c:pt>
                <c:pt idx="4">
                  <c:v>0.0350864456082146</c:v>
                </c:pt>
                <c:pt idx="5">
                  <c:v>0.12366001487517939</c:v>
                </c:pt>
                <c:pt idx="6">
                  <c:v>0.1497106993230088</c:v>
                </c:pt>
                <c:pt idx="7">
                  <c:v>0.1647679430192327</c:v>
                </c:pt>
                <c:pt idx="8">
                  <c:v>0.16299902679493175</c:v>
                </c:pt>
                <c:pt idx="9">
                  <c:v>0.1966570314498176</c:v>
                </c:pt>
                <c:pt idx="10">
                  <c:v>0.04642781199253801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415582430339055</c:v>
                </c:pt>
                <c:pt idx="8">
                  <c:v>0.011988295694564919</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65898334756715</c:v>
                </c:pt>
                <c:pt idx="1">
                  <c:v>0.020705941386764733</c:v>
                </c:pt>
                <c:pt idx="2">
                  <c:v>0.0162787334152966</c:v>
                </c:pt>
                <c:pt idx="3">
                  <c:v>0.017548824161276975</c:v>
                </c:pt>
                <c:pt idx="4">
                  <c:v>0.05770154953814584</c:v>
                </c:pt>
                <c:pt idx="5">
                  <c:v>0.14579996000114004</c:v>
                </c:pt>
                <c:pt idx="6">
                  <c:v>0.1286472547711171</c:v>
                </c:pt>
                <c:pt idx="7">
                  <c:v>0.1797236450590925</c:v>
                </c:pt>
                <c:pt idx="8">
                  <c:v>0.24907140238754868</c:v>
                </c:pt>
                <c:pt idx="9">
                  <c:v>0.15553268833943143</c:v>
                </c:pt>
                <c:pt idx="10">
                  <c:v>0.005624102605429428</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7058601382366944</c:v>
                </c:pt>
                <c:pt idx="1">
                  <c:v>0.04407534036648154</c:v>
                </c:pt>
                <c:pt idx="2">
                  <c:v>0.03914814710229394</c:v>
                </c:pt>
                <c:pt idx="3">
                  <c:v>0.024302963422487257</c:v>
                </c:pt>
                <c:pt idx="4">
                  <c:v>0.0682648359100086</c:v>
                </c:pt>
                <c:pt idx="5">
                  <c:v>0.08108512902596</c:v>
                </c:pt>
                <c:pt idx="6">
                  <c:v>0.1739101950115808</c:v>
                </c:pt>
                <c:pt idx="7">
                  <c:v>0.21549263910120092</c:v>
                </c:pt>
                <c:pt idx="8">
                  <c:v>0.18617788954780065</c:v>
                </c:pt>
                <c:pt idx="9">
                  <c:v>0.09837316300554058</c:v>
                </c:pt>
                <c:pt idx="10">
                  <c:v>0.01211109612427878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407799527141667</c:v>
                </c:pt>
                <c:pt idx="1">
                  <c:v>0.02062966834660215</c:v>
                </c:pt>
                <c:pt idx="2">
                  <c:v>0.08008332120232514</c:v>
                </c:pt>
                <c:pt idx="3">
                  <c:v>0.02838012765167107</c:v>
                </c:pt>
                <c:pt idx="4">
                  <c:v>0.14083598542271128</c:v>
                </c:pt>
                <c:pt idx="5">
                  <c:v>0.2811521153131808</c:v>
                </c:pt>
                <c:pt idx="6">
                  <c:v>0.22040258842250043</c:v>
                </c:pt>
                <c:pt idx="7">
                  <c:v>0.07644417561014788</c:v>
                </c:pt>
                <c:pt idx="8">
                  <c:v>0.08295570341441867</c:v>
                </c:pt>
                <c:pt idx="9">
                  <c:v>0.01503831934502595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3889779998381663</c:v>
                </c:pt>
                <c:pt idx="2">
                  <c:v>0.01763736145551981</c:v>
                </c:pt>
                <c:pt idx="3">
                  <c:v>0.22477381694972196</c:v>
                </c:pt>
                <c:pt idx="4">
                  <c:v>0.11083399654413399</c:v>
                </c:pt>
                <c:pt idx="5">
                  <c:v>0.10979447122894243</c:v>
                </c:pt>
                <c:pt idx="6">
                  <c:v>0.017616876179823847</c:v>
                </c:pt>
                <c:pt idx="7">
                  <c:v>0.22932390396093047</c:v>
                </c:pt>
                <c:pt idx="8">
                  <c:v>0.1685322607242979</c:v>
                </c:pt>
                <c:pt idx="9">
                  <c:v>0.082145443408913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594367525237686</c:v>
                </c:pt>
                <c:pt idx="2">
                  <c:v>0.004252032066076116</c:v>
                </c:pt>
                <c:pt idx="3">
                  <c:v>0.0849441658281238</c:v>
                </c:pt>
                <c:pt idx="4">
                  <c:v>0.02767727653606431</c:v>
                </c:pt>
                <c:pt idx="5">
                  <c:v>0.10953939421161027</c:v>
                </c:pt>
                <c:pt idx="6">
                  <c:v>0.12398962027820842</c:v>
                </c:pt>
                <c:pt idx="7">
                  <c:v>0.1210615521418764</c:v>
                </c:pt>
                <c:pt idx="8">
                  <c:v>0.3262023710047276</c:v>
                </c:pt>
                <c:pt idx="9">
                  <c:v>0.10121561452946574</c:v>
                </c:pt>
                <c:pt idx="10">
                  <c:v>0.0950555590826723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29629555086729643</c:v>
                </c:pt>
                <c:pt idx="6">
                  <c:v>0.004072175014549033</c:v>
                </c:pt>
                <c:pt idx="7">
                  <c:v>0.021327844707948126</c:v>
                </c:pt>
                <c:pt idx="8">
                  <c:v>0.06993358149902323</c:v>
                </c:pt>
                <c:pt idx="9">
                  <c:v>0.00943198508798930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872184253652326</c:v>
                </c:pt>
                <c:pt idx="1">
                  <c:v>0.0064377750810823645</c:v>
                </c:pt>
                <c:pt idx="2">
                  <c:v>0.023401097734032036</c:v>
                </c:pt>
                <c:pt idx="3">
                  <c:v>0.09046787823725069</c:v>
                </c:pt>
                <c:pt idx="4">
                  <c:v>0.026029595140876296</c:v>
                </c:pt>
                <c:pt idx="5">
                  <c:v>0.11858627354648475</c:v>
                </c:pt>
                <c:pt idx="6">
                  <c:v>0.12647657415686708</c:v>
                </c:pt>
                <c:pt idx="7">
                  <c:v>0.19717935221122623</c:v>
                </c:pt>
                <c:pt idx="8">
                  <c:v>0.1470544346951471</c:v>
                </c:pt>
                <c:pt idx="9">
                  <c:v>0.1255618047012625</c:v>
                </c:pt>
                <c:pt idx="10">
                  <c:v>0.1341179960704057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18740610394460178</c:v>
                </c:pt>
                <c:pt idx="8">
                  <c:v>0.0115126921991336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135215450686418</c:v>
                </c:pt>
                <c:pt idx="1">
                  <c:v>0.0018944882812584778</c:v>
                </c:pt>
                <c:pt idx="2">
                  <c:v>0.0041063764779702226</c:v>
                </c:pt>
                <c:pt idx="3">
                  <c:v>0.01662843254070168</c:v>
                </c:pt>
                <c:pt idx="4">
                  <c:v>0.07293795557510468</c:v>
                </c:pt>
                <c:pt idx="5">
                  <c:v>0.15797971891225537</c:v>
                </c:pt>
                <c:pt idx="6">
                  <c:v>0.09598337906718378</c:v>
                </c:pt>
                <c:pt idx="7">
                  <c:v>0.21068997706434744</c:v>
                </c:pt>
                <c:pt idx="8">
                  <c:v>0.19968366113881508</c:v>
                </c:pt>
                <c:pt idx="9">
                  <c:v>0.15604544109593402</c:v>
                </c:pt>
                <c:pt idx="10">
                  <c:v>0.04269841533956509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16552582285686</c:v>
                </c:pt>
                <c:pt idx="1">
                  <c:v>0.009453718885226003</c:v>
                </c:pt>
                <c:pt idx="2">
                  <c:v>0.020219498100420973</c:v>
                </c:pt>
                <c:pt idx="3">
                  <c:v>0.008240412408021246</c:v>
                </c:pt>
                <c:pt idx="4">
                  <c:v>0.05553369529734231</c:v>
                </c:pt>
                <c:pt idx="5">
                  <c:v>0.09321378517433843</c:v>
                </c:pt>
                <c:pt idx="6">
                  <c:v>0.216150125010367</c:v>
                </c:pt>
                <c:pt idx="7">
                  <c:v>0.151632184131818</c:v>
                </c:pt>
                <c:pt idx="8">
                  <c:v>0.34844429515359976</c:v>
                </c:pt>
                <c:pt idx="9">
                  <c:v>0.082946760016009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0379942463993448</c:v>
                </c:pt>
                <c:pt idx="1">
                  <c:v>0.09152991779240488</c:v>
                </c:pt>
                <c:pt idx="2">
                  <c:v>0.004866168269544087</c:v>
                </c:pt>
                <c:pt idx="3">
                  <c:v>0.04143895876586197</c:v>
                </c:pt>
                <c:pt idx="4">
                  <c:v>0.12055059537663741</c:v>
                </c:pt>
                <c:pt idx="5">
                  <c:v>0.23404232341194106</c:v>
                </c:pt>
                <c:pt idx="6">
                  <c:v>0.1719810820120844</c:v>
                </c:pt>
                <c:pt idx="7">
                  <c:v>0.228922177430617</c:v>
                </c:pt>
                <c:pt idx="8">
                  <c:v>0.04438874975561162</c:v>
                </c:pt>
                <c:pt idx="9">
                  <c:v>0.031900084721304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5</c:v>
                </c:pt>
                <c:pt idx="3">
                  <c:v>0.047555465818613675</c:v>
                </c:pt>
                <c:pt idx="4">
                  <c:v>0.07216931461038154</c:v>
                </c:pt>
                <c:pt idx="5">
                  <c:v>0.11538975237199359</c:v>
                </c:pt>
                <c:pt idx="6">
                  <c:v>0.13910064653920554</c:v>
                </c:pt>
                <c:pt idx="7">
                  <c:v>0.18415888055193388</c:v>
                </c:pt>
                <c:pt idx="8">
                  <c:v>0.19567579739573698</c:v>
                </c:pt>
                <c:pt idx="9">
                  <c:v>0.1373325993517957</c:v>
                </c:pt>
                <c:pt idx="10">
                  <c:v>0.0253689024590849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981271760873598</c:v>
                </c:pt>
                <c:pt idx="4">
                  <c:v>0.007599096365085087</c:v>
                </c:pt>
                <c:pt idx="5">
                  <c:v>0.003592422073275713</c:v>
                </c:pt>
                <c:pt idx="6">
                  <c:v>0.0032777212980458176</c:v>
                </c:pt>
                <c:pt idx="7">
                  <c:v>0.004155694768489085</c:v>
                </c:pt>
                <c:pt idx="8">
                  <c:v>0.0018617436727184685</c:v>
                </c:pt>
                <c:pt idx="9">
                  <c:v>0.001441070302449457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5</c:v>
                </c:pt>
                <c:pt idx="2">
                  <c:v>0.01391455219372234</c:v>
                </c:pt>
                <c:pt idx="3">
                  <c:v>0.09004346085649975</c:v>
                </c:pt>
                <c:pt idx="4">
                  <c:v>0.057044640694140274</c:v>
                </c:pt>
                <c:pt idx="5">
                  <c:v>0.12465870549148711</c:v>
                </c:pt>
                <c:pt idx="6">
                  <c:v>0.11514928294657306</c:v>
                </c:pt>
                <c:pt idx="7">
                  <c:v>0.1871274516940177</c:v>
                </c:pt>
                <c:pt idx="8">
                  <c:v>0.214304498826981</c:v>
                </c:pt>
                <c:pt idx="9">
                  <c:v>0.1089918396807116</c:v>
                </c:pt>
                <c:pt idx="10">
                  <c:v>0.0638224042507857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10202896374155589</c:v>
                </c:pt>
                <c:pt idx="3">
                  <c:v>0.008315817381319824</c:v>
                </c:pt>
                <c:pt idx="4">
                  <c:v>0.009528814340043575</c:v>
                </c:pt>
                <c:pt idx="6">
                  <c:v>0.0010506368196031462</c:v>
                </c:pt>
                <c:pt idx="7">
                  <c:v>0.01028528435928596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6</c:v>
                </c:pt>
                <c:pt idx="1">
                  <c:v>0.019033626479877733</c:v>
                </c:pt>
                <c:pt idx="2">
                  <c:v>0.01982750828076984</c:v>
                </c:pt>
                <c:pt idx="3">
                  <c:v>0.04617630952150177</c:v>
                </c:pt>
                <c:pt idx="4">
                  <c:v>0.06914144718509652</c:v>
                </c:pt>
                <c:pt idx="5">
                  <c:v>0.0990885822044972</c:v>
                </c:pt>
                <c:pt idx="6">
                  <c:v>0.128900450578765</c:v>
                </c:pt>
                <c:pt idx="7">
                  <c:v>0.17819960100478047</c:v>
                </c:pt>
                <c:pt idx="8">
                  <c:v>0.2426326861233528</c:v>
                </c:pt>
                <c:pt idx="9">
                  <c:v>0.09166950552699936</c:v>
                </c:pt>
                <c:pt idx="10">
                  <c:v>0.0886259055872865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5893115539872279</c:v>
                </c:pt>
                <c:pt idx="7">
                  <c:v>0.0042781196847330675</c:v>
                </c:pt>
                <c:pt idx="8">
                  <c:v>0.007974154092364044</c:v>
                </c:pt>
                <c:pt idx="9">
                  <c:v>0.00078305511332296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5</c:v>
                </c:pt>
                <c:pt idx="3">
                  <c:v>0.047555465818613675</c:v>
                </c:pt>
                <c:pt idx="4">
                  <c:v>0.07216931461038154</c:v>
                </c:pt>
                <c:pt idx="5">
                  <c:v>0.11538975237199359</c:v>
                </c:pt>
                <c:pt idx="6">
                  <c:v>0.13910064653920554</c:v>
                </c:pt>
                <c:pt idx="7">
                  <c:v>0.18415888055193388</c:v>
                </c:pt>
                <c:pt idx="8">
                  <c:v>0.19567579739573698</c:v>
                </c:pt>
                <c:pt idx="9">
                  <c:v>0.1373325993517957</c:v>
                </c:pt>
                <c:pt idx="10">
                  <c:v>0.0253689024590849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664298652854376</c:v>
                </c:pt>
                <c:pt idx="6">
                  <c:v>0.003089423275313602</c:v>
                </c:pt>
                <c:pt idx="7">
                  <c:v>0.006460184788650986</c:v>
                </c:pt>
                <c:pt idx="8">
                  <c:v>0.008665698137942348</c:v>
                </c:pt>
                <c:pt idx="9">
                  <c:v>0.00108807853086587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5</c:v>
                </c:pt>
                <c:pt idx="2">
                  <c:v>0.01391455219372234</c:v>
                </c:pt>
                <c:pt idx="3">
                  <c:v>0.09004346085649975</c:v>
                </c:pt>
                <c:pt idx="4">
                  <c:v>0.057044640694140274</c:v>
                </c:pt>
                <c:pt idx="5">
                  <c:v>0.12465870549148711</c:v>
                </c:pt>
                <c:pt idx="6">
                  <c:v>0.11514928294657306</c:v>
                </c:pt>
                <c:pt idx="7">
                  <c:v>0.1871274516940177</c:v>
                </c:pt>
                <c:pt idx="8">
                  <c:v>0.214304498826981</c:v>
                </c:pt>
                <c:pt idx="9">
                  <c:v>0.1089918396807116</c:v>
                </c:pt>
                <c:pt idx="10">
                  <c:v>0.0638224042507857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10253020798688324</c:v>
                </c:pt>
                <c:pt idx="6">
                  <c:v>0.000962380264894093</c:v>
                </c:pt>
                <c:pt idx="7">
                  <c:v>0.003551266347196433</c:v>
                </c:pt>
                <c:pt idx="8">
                  <c:v>0.013280811825233933</c:v>
                </c:pt>
                <c:pt idx="9">
                  <c:v>0.001317860316708622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68986770156853</c:v>
                </c:pt>
                <c:pt idx="1">
                  <c:v>0.019837674558354175</c:v>
                </c:pt>
                <c:pt idx="2">
                  <c:v>0.020649080415175616</c:v>
                </c:pt>
                <c:pt idx="3">
                  <c:v>0.03811818346706814</c:v>
                </c:pt>
                <c:pt idx="4">
                  <c:v>0.061661417397453615</c:v>
                </c:pt>
                <c:pt idx="5">
                  <c:v>0.09924682877793033</c:v>
                </c:pt>
                <c:pt idx="6">
                  <c:v>0.1332016043949691</c:v>
                </c:pt>
                <c:pt idx="7">
                  <c:v>0.17855094253158701</c:v>
                </c:pt>
                <c:pt idx="8">
                  <c:v>0.24422796421949797</c:v>
                </c:pt>
                <c:pt idx="9">
                  <c:v>0.09523057734203796</c:v>
                </c:pt>
                <c:pt idx="10">
                  <c:v>0.0925858591943575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6126010037809816</c:v>
                </c:pt>
                <c:pt idx="3">
                  <c:v>0.0007197671426231757</c:v>
                </c:pt>
                <c:pt idx="4">
                  <c:v>0.0010449500378745325</c:v>
                </c:pt>
                <c:pt idx="5">
                  <c:v>0.0027876066299880723</c:v>
                </c:pt>
                <c:pt idx="7">
                  <c:v>0.006779780720226293</c:v>
                </c:pt>
                <c:pt idx="8">
                  <c:v>0.00725977663629282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975516137549</c:v>
                </c:pt>
                <c:pt idx="1">
                  <c:v>0.0011038120023828693</c:v>
                </c:pt>
                <c:pt idx="2">
                  <c:v>0.0015282875797082282</c:v>
                </c:pt>
                <c:pt idx="3">
                  <c:v>0.24074556770459496</c:v>
                </c:pt>
                <c:pt idx="4">
                  <c:v>0.250748047026607</c:v>
                </c:pt>
                <c:pt idx="5">
                  <c:v>0.09501567428034123</c:v>
                </c:pt>
                <c:pt idx="6">
                  <c:v>0.01776621971473062</c:v>
                </c:pt>
                <c:pt idx="7">
                  <c:v>0.15861178296232292</c:v>
                </c:pt>
                <c:pt idx="8">
                  <c:v>0.20674302461709723</c:v>
                </c:pt>
                <c:pt idx="9">
                  <c:v>0.00964003249846006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6</c:v>
                </c:pt>
                <c:pt idx="2">
                  <c:v>0.03361892145334922</c:v>
                </c:pt>
                <c:pt idx="3">
                  <c:v>0.043193698660743136</c:v>
                </c:pt>
                <c:pt idx="4">
                  <c:v>0.06086647020153794</c:v>
                </c:pt>
                <c:pt idx="5">
                  <c:v>0.11629275414523581</c:v>
                </c:pt>
                <c:pt idx="6">
                  <c:v>0.14114999538782796</c:v>
                </c:pt>
                <c:pt idx="7">
                  <c:v>0.1870820731732225</c:v>
                </c:pt>
                <c:pt idx="8">
                  <c:v>0.19672272953911327</c:v>
                </c:pt>
                <c:pt idx="9">
                  <c:v>0.14353338057932885</c:v>
                </c:pt>
                <c:pt idx="10">
                  <c:v>0.0266545056269850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26574529464262</c:v>
                </c:pt>
                <c:pt idx="3">
                  <c:v>0.0034725365029936576</c:v>
                </c:pt>
                <c:pt idx="4">
                  <c:v>0.0018439494441048283</c:v>
                </c:pt>
                <c:pt idx="5">
                  <c:v>0.0022671840543629514</c:v>
                </c:pt>
                <c:pt idx="6">
                  <c:v>0.0025051656416924775</c:v>
                </c:pt>
                <c:pt idx="7">
                  <c:v>0.006024157361937826</c:v>
                </c:pt>
                <c:pt idx="8">
                  <c:v>0.007141709990768625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2</c:v>
                </c:pt>
                <c:pt idx="6">
                  <c:v>0.0780238118923588</c:v>
                </c:pt>
                <c:pt idx="7">
                  <c:v>0.11515289447697061</c:v>
                </c:pt>
                <c:pt idx="8">
                  <c:v>0.1802110412061716</c:v>
                </c:pt>
                <c:pt idx="9">
                  <c:v>0.015436239982336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2252761138651</c:v>
                </c:pt>
                <c:pt idx="1">
                  <c:v>0.012001151939103054</c:v>
                </c:pt>
                <c:pt idx="2">
                  <c:v>0.014271461085164992</c:v>
                </c:pt>
                <c:pt idx="3">
                  <c:v>0.0735456259416907</c:v>
                </c:pt>
                <c:pt idx="4">
                  <c:v>0.054250404213041364</c:v>
                </c:pt>
                <c:pt idx="5">
                  <c:v>0.12550902281882184</c:v>
                </c:pt>
                <c:pt idx="6">
                  <c:v>0.1211517910584342</c:v>
                </c:pt>
                <c:pt idx="7">
                  <c:v>0.187042554643229</c:v>
                </c:pt>
                <c:pt idx="8">
                  <c:v>0.21492993040072444</c:v>
                </c:pt>
                <c:pt idx="9">
                  <c:v>0.11520676347948282</c:v>
                </c:pt>
                <c:pt idx="10">
                  <c:v>0.067668766808921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5</c:v>
                </c:pt>
                <c:pt idx="3">
                  <c:v>0.047555465818613675</c:v>
                </c:pt>
                <c:pt idx="4">
                  <c:v>0.07216931461038154</c:v>
                </c:pt>
                <c:pt idx="5">
                  <c:v>0.11538975237199359</c:v>
                </c:pt>
                <c:pt idx="6">
                  <c:v>0.13910064653920554</c:v>
                </c:pt>
                <c:pt idx="7">
                  <c:v>0.18415888055193388</c:v>
                </c:pt>
                <c:pt idx="8">
                  <c:v>0.19567579739573698</c:v>
                </c:pt>
                <c:pt idx="9">
                  <c:v>0.1373325993517957</c:v>
                </c:pt>
                <c:pt idx="10">
                  <c:v>0.0253689024590849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371846274012195</c:v>
                </c:pt>
                <c:pt idx="2">
                  <c:v>0.0008995437474327468</c:v>
                </c:pt>
                <c:pt idx="5">
                  <c:v>0.005871580870070205</c:v>
                </c:pt>
                <c:pt idx="6">
                  <c:v>0.000863499602368958</c:v>
                </c:pt>
                <c:pt idx="7">
                  <c:v>0.007390471472958666</c:v>
                </c:pt>
                <c:pt idx="8">
                  <c:v>0.007840044764272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316513806799</c:v>
                </c:pt>
                <c:pt idx="3">
                  <c:v>0.3802122559604967</c:v>
                </c:pt>
                <c:pt idx="4">
                  <c:v>0.10773548689713384</c:v>
                </c:pt>
                <c:pt idx="5">
                  <c:v>0.11240208748273982</c:v>
                </c:pt>
                <c:pt idx="6">
                  <c:v>0.005703933490111149</c:v>
                </c:pt>
                <c:pt idx="7">
                  <c:v>0.1840588125433033</c:v>
                </c:pt>
                <c:pt idx="8">
                  <c:v>0.2011401678119552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68986770156853</c:v>
                </c:pt>
                <c:pt idx="1">
                  <c:v>0.019837674558354175</c:v>
                </c:pt>
                <c:pt idx="2">
                  <c:v>0.020649080415175616</c:v>
                </c:pt>
                <c:pt idx="3">
                  <c:v>0.03811818346706814</c:v>
                </c:pt>
                <c:pt idx="4">
                  <c:v>0.061661417397453615</c:v>
                </c:pt>
                <c:pt idx="5">
                  <c:v>0.09924682877793033</c:v>
                </c:pt>
                <c:pt idx="6">
                  <c:v>0.1332016043949691</c:v>
                </c:pt>
                <c:pt idx="7">
                  <c:v>0.17855094253158701</c:v>
                </c:pt>
                <c:pt idx="8">
                  <c:v>0.24422796421949797</c:v>
                </c:pt>
                <c:pt idx="9">
                  <c:v>0.09523057734203796</c:v>
                </c:pt>
                <c:pt idx="10">
                  <c:v>0.0925858591943575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396506476830576</c:v>
                </c:pt>
                <c:pt idx="4">
                  <c:v>0.00412012442685261</c:v>
                </c:pt>
                <c:pt idx="5">
                  <c:v>0.004348509121795438</c:v>
                </c:pt>
                <c:pt idx="6">
                  <c:v>0.002366518625871674</c:v>
                </c:pt>
                <c:pt idx="7">
                  <c:v>0.00738738341707654</c:v>
                </c:pt>
                <c:pt idx="8">
                  <c:v>0.001871661422239515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975516137549</c:v>
                </c:pt>
                <c:pt idx="1">
                  <c:v>0.0011038120023828693</c:v>
                </c:pt>
                <c:pt idx="2">
                  <c:v>0.0015282875797082282</c:v>
                </c:pt>
                <c:pt idx="3">
                  <c:v>0.24074556770459496</c:v>
                </c:pt>
                <c:pt idx="4">
                  <c:v>0.250748047026607</c:v>
                </c:pt>
                <c:pt idx="5">
                  <c:v>0.09501567428034123</c:v>
                </c:pt>
                <c:pt idx="6">
                  <c:v>0.01776621971473062</c:v>
                </c:pt>
                <c:pt idx="7">
                  <c:v>0.15861178296232292</c:v>
                </c:pt>
                <c:pt idx="8">
                  <c:v>0.20674302461709723</c:v>
                </c:pt>
                <c:pt idx="9">
                  <c:v>0.00964003249846006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477014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49897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2090896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376126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630836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353429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668209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52875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5035466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080356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684017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72209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642771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0851586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742495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6681291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857719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3604051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351714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2467918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17738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3397882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978456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808658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823787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717817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9107493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823409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2614792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463373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646369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674653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909367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733363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339514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91315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TotalTime>
  <Words>3564</Words>
  <Application>Microsoft Office PowerPoint</Application>
  <PresentationFormat>On-screen Show (16:9)</PresentationFormat>
  <Paragraphs>1260</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3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